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F6F6F6"/>
    <a:srgbClr val="BDBDBD"/>
    <a:srgbClr val="727272"/>
    <a:srgbClr val="E5E5E5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11:22.029" v="11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3:11:22.029" v="11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A4CFA2F4-FF8D-446B-B271-6DF568DBEADA}" dt="2026-01-14T12:58:05.412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4T12:58:19.307" v="5" actId="20577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3522028368375747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20</c:f>
              <c:strCache>
                <c:ptCount val="1"/>
                <c:pt idx="0">
                  <c:v>Uomini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1:$B$31</c:f>
              <c:strCache>
                <c:ptCount val="11"/>
                <c:pt idx="0">
                  <c:v>Meno di 20 anni</c:v>
                </c:pt>
                <c:pt idx="1">
                  <c:v>Da 20 a 24 anni</c:v>
                </c:pt>
                <c:pt idx="2">
                  <c:v>Da 25 a 29 anni</c:v>
                </c:pt>
                <c:pt idx="3">
                  <c:v>Da 30 a 34 anni</c:v>
                </c:pt>
                <c:pt idx="4">
                  <c:v>Da 35 a 39 anni</c:v>
                </c:pt>
                <c:pt idx="5">
                  <c:v>Da 40 a 44 anni</c:v>
                </c:pt>
                <c:pt idx="6">
                  <c:v>Da 45 a 49 anni</c:v>
                </c:pt>
                <c:pt idx="7">
                  <c:v>Da 50 a 54 anni</c:v>
                </c:pt>
                <c:pt idx="8">
                  <c:v>Da 55 a 59 anni</c:v>
                </c:pt>
                <c:pt idx="9">
                  <c:v>Da 60 a 64 anni</c:v>
                </c:pt>
                <c:pt idx="10">
                  <c:v>65 e più anni</c:v>
                </c:pt>
              </c:strCache>
            </c:strRef>
          </c:cat>
          <c:val>
            <c:numRef>
              <c:f>data!$C$21:$C$31</c:f>
              <c:numCache>
                <c:formatCode>#,##0</c:formatCode>
                <c:ptCount val="11"/>
                <c:pt idx="0">
                  <c:v>-111</c:v>
                </c:pt>
                <c:pt idx="1">
                  <c:v>-1056</c:v>
                </c:pt>
                <c:pt idx="2">
                  <c:v>-1963</c:v>
                </c:pt>
                <c:pt idx="3">
                  <c:v>-2872</c:v>
                </c:pt>
                <c:pt idx="4">
                  <c:v>-3333</c:v>
                </c:pt>
                <c:pt idx="5">
                  <c:v>-3216</c:v>
                </c:pt>
                <c:pt idx="6">
                  <c:v>-2971</c:v>
                </c:pt>
                <c:pt idx="7">
                  <c:v>-3217</c:v>
                </c:pt>
                <c:pt idx="8">
                  <c:v>-3789</c:v>
                </c:pt>
                <c:pt idx="9">
                  <c:v>-3065</c:v>
                </c:pt>
                <c:pt idx="10">
                  <c:v>-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20</c:f>
              <c:strCache>
                <c:ptCount val="1"/>
                <c:pt idx="0">
                  <c:v>Donne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1:$B$31</c:f>
              <c:strCache>
                <c:ptCount val="11"/>
                <c:pt idx="0">
                  <c:v>Meno di 20 anni</c:v>
                </c:pt>
                <c:pt idx="1">
                  <c:v>Da 20 a 24 anni</c:v>
                </c:pt>
                <c:pt idx="2">
                  <c:v>Da 25 a 29 anni</c:v>
                </c:pt>
                <c:pt idx="3">
                  <c:v>Da 30 a 34 anni</c:v>
                </c:pt>
                <c:pt idx="4">
                  <c:v>Da 35 a 39 anni</c:v>
                </c:pt>
                <c:pt idx="5">
                  <c:v>Da 40 a 44 anni</c:v>
                </c:pt>
                <c:pt idx="6">
                  <c:v>Da 45 a 49 anni</c:v>
                </c:pt>
                <c:pt idx="7">
                  <c:v>Da 50 a 54 anni</c:v>
                </c:pt>
                <c:pt idx="8">
                  <c:v>Da 55 a 59 anni</c:v>
                </c:pt>
                <c:pt idx="9">
                  <c:v>Da 60 a 64 anni</c:v>
                </c:pt>
                <c:pt idx="10">
                  <c:v>65 e più anni</c:v>
                </c:pt>
              </c:strCache>
            </c:strRef>
          </c:cat>
          <c:val>
            <c:numRef>
              <c:f>data!$D$21:$D$31</c:f>
              <c:numCache>
                <c:formatCode>#,##0</c:formatCode>
                <c:ptCount val="11"/>
                <c:pt idx="0">
                  <c:v>70</c:v>
                </c:pt>
                <c:pt idx="1">
                  <c:v>400</c:v>
                </c:pt>
                <c:pt idx="2">
                  <c:v>795</c:v>
                </c:pt>
                <c:pt idx="3">
                  <c:v>976</c:v>
                </c:pt>
                <c:pt idx="4">
                  <c:v>988</c:v>
                </c:pt>
                <c:pt idx="5">
                  <c:v>942</c:v>
                </c:pt>
                <c:pt idx="6">
                  <c:v>759</c:v>
                </c:pt>
                <c:pt idx="7">
                  <c:v>853</c:v>
                </c:pt>
                <c:pt idx="8">
                  <c:v>626</c:v>
                </c:pt>
                <c:pt idx="9">
                  <c:v>336</c:v>
                </c:pt>
                <c:pt idx="1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5733120"/>
        <c:axId val="125422208"/>
      </c:barChart>
      <c:valAx>
        <c:axId val="125422208"/>
        <c:scaling>
          <c:orientation val="minMax"/>
          <c:max val="2000"/>
          <c:min val="-5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20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758</cdr:x>
      <cdr:y>0.04657</cdr:y>
    </cdr:from>
    <cdr:to>
      <cdr:x>0.61053</cdr:x>
      <cdr:y>0.1006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576243" y="208331"/>
          <a:ext cx="529559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CH" sz="1100" noProof="0" dirty="0">
              <a:solidFill>
                <a:srgbClr val="444444"/>
              </a:solidFill>
            </a:rPr>
            <a:t>Uomini </a:t>
          </a:r>
          <a:endParaRPr lang="it-CH" sz="1100" noProof="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814</cdr:x>
      <cdr:y>0.04427</cdr:y>
    </cdr:from>
    <cdr:to>
      <cdr:x>0.71917</cdr:x>
      <cdr:y>0.0983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81931" y="198042"/>
          <a:ext cx="510323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rgbClr val="444444"/>
              </a:solidFill>
            </a:rPr>
            <a:t>Donne 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Collaboratrici e collaboratori per età nel 2025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38437" y="6075491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+mj-lt"/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590121" y="6075491"/>
            <a:ext cx="6743171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it-IT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Numero di collaboratori/</a:t>
            </a:r>
            <a:r>
              <a:rPr lang="it-IT" sz="1100" dirty="0" err="1">
                <a:solidFill>
                  <a:srgbClr val="444444"/>
                </a:solidFill>
                <a:latin typeface="+mj-lt"/>
                <a:cs typeface="Arial" pitchFamily="34" charset="0"/>
              </a:rPr>
              <a:t>trici</a:t>
            </a:r>
            <a:r>
              <a:rPr lang="it-IT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 a fine anno. FFS SA e FFS Cargo SA (Svizzera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0326176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103CBF7-8AC0-4F02-88C0-B568473A23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ollaboratrici e collaboratori per età nel 2025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oratrici e collaboratori per età nel 2023._x000b_</dc:title>
  <dc:creator>Meyer Raphael (KOM-PGA-VSF)</dc:creator>
  <cp:lastModifiedBy>Weigel Stefan (PAR-EPS)</cp:lastModifiedBy>
  <cp:revision>55</cp:revision>
  <dcterms:created xsi:type="dcterms:W3CDTF">2020-09-30T11:00:09Z</dcterms:created>
  <dcterms:modified xsi:type="dcterms:W3CDTF">2026-03-03T13:2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